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0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0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655548" y="1214914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/>
                <a:t>Auftraggeber</a:t>
              </a:r>
              <a:endParaRPr lang="de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172123"/>
              <a:chOff x="563224" y="1700808"/>
              <a:chExt cx="10861367" cy="3980446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Benutzeroberoberfläche für Auftraggeber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Auftraggeber kann Applikation zur Verfügung stell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</a:t>
                </a:r>
                <a:r>
                  <a:rPr lang="de-DE" sz="1000" dirty="0"/>
                  <a:t>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Verwaltungs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Verteilt Applikation vom Auftraggeber auf kompatible Steuergerä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Lädt Applikation auf Fahrzeugsteuergeräte</a:t>
                </a:r>
              </a:p>
              <a:p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Bietet Möglichkeit für parallele Berechnu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rmittelt Verfügbare Rechenleistung von Fahrzeugen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Überwacht gelieferte Rechenleistung von Fahrzeugen</a:t>
                </a:r>
                <a:endParaRPr lang="de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8" y="4792984"/>
                <a:ext cx="6584926" cy="88827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der Fahrzeugflotte</a:t>
                </a:r>
                <a:endParaRPr lang="de-DE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699417" y="248088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Verwaltungsapplikation </a:t>
                </a:r>
                <a:endParaRPr lang="de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err="1" smtClean="0"/>
                  <a:t>Loader</a:t>
                </a:r>
                <a:r>
                  <a:rPr lang="de-DE" sz="1000" b="1" dirty="0" smtClean="0"/>
                  <a:t>-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mpfängt externe Applikation als Binärcode und speichert es im Systemspeich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ann externe Applikation starten und stopp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ommuniziert mit externe Applikation über definierte Schnittstelle</a:t>
                </a:r>
                <a:endParaRPr lang="de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Externe Applikation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Führt Berechnungen für Auftraggeber auf der Hardware aus</a:t>
                </a:r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3319460"/>
            <a:ext cx="824088" cy="2359242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5400000" flipH="1" flipV="1">
            <a:off x="1471502" y="2610488"/>
            <a:ext cx="1077575" cy="598889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</a:t>
            </a:r>
            <a:r>
              <a:rPr lang="de-DE" sz="1600" dirty="0" smtClean="0"/>
              <a:t>Auftraggeber sei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de-DE" dirty="0" smtClean="0"/>
              <a:t>Informationen</a:t>
            </a:r>
            <a:r>
              <a:rPr lang="en-US" dirty="0" smtClean="0"/>
              <a:t> </a:t>
            </a:r>
            <a:r>
              <a:rPr lang="de-DE" dirty="0" smtClean="0"/>
              <a:t>zur</a:t>
            </a:r>
            <a:r>
              <a:rPr lang="en-US" dirty="0" smtClean="0"/>
              <a:t> </a:t>
            </a:r>
            <a:r>
              <a:rPr lang="en-US" dirty="0"/>
              <a:t>Person</a:t>
            </a:r>
          </a:p>
          <a:p>
            <a:r>
              <a:rPr lang="de-DE" dirty="0" smtClean="0"/>
              <a:t>Einleitung</a:t>
            </a:r>
          </a:p>
          <a:p>
            <a:r>
              <a:rPr lang="de-DE" dirty="0" smtClean="0"/>
              <a:t>Verteiltes </a:t>
            </a:r>
            <a:r>
              <a:rPr lang="de-DE" dirty="0"/>
              <a:t>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die Verteilung von Rechenaufgaben auf Fahrzeugflotte erarbeit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Verwaltung und </a:t>
            </a:r>
            <a:r>
              <a:rPr lang="de-DE" sz="1200" dirty="0" err="1" smtClean="0"/>
              <a:t>Loader</a:t>
            </a:r>
            <a:r>
              <a:rPr lang="de-DE" sz="1200" dirty="0" smtClean="0"/>
              <a:t> Applikation fertig stell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Implementierung der Softwarekomponenten</a:t>
            </a:r>
            <a:endParaRPr lang="de-DE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err="1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Bereit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ingangsdaten für Applikation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rgebnisse aus der Applikation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an das Fahrzeug übert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Kommunikation mit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Auftraggeber</a:t>
            </a:r>
            <a:endParaRPr lang="de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Verwaltung</a:t>
            </a:r>
            <a:endParaRPr lang="de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Fahrzeug</a:t>
            </a:r>
            <a:endParaRPr lang="de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Auftraggeber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Stellt Applikation der </a:t>
            </a:r>
            <a:r>
              <a:rPr lang="de-DE" sz="1600" dirty="0" err="1" smtClean="0"/>
              <a:t>Verwalungsapplikation</a:t>
            </a:r>
            <a:r>
              <a:rPr lang="de-DE" sz="1600" dirty="0" smtClean="0"/>
              <a:t> zur Verfügung</a:t>
            </a:r>
            <a:r>
              <a:rPr lang="en-GB" sz="1600" dirty="0" smtClean="0"/>
              <a:t>, </a:t>
            </a:r>
            <a:r>
              <a:rPr lang="en-GB" sz="1600" dirty="0"/>
              <a:t>die in </a:t>
            </a:r>
            <a:r>
              <a:rPr lang="de-DE" sz="1600" dirty="0" smtClean="0"/>
              <a:t>einem</a:t>
            </a:r>
            <a:r>
              <a:rPr lang="en-GB" sz="1600" dirty="0" smtClean="0"/>
              <a:t> Cloud</a:t>
            </a:r>
            <a:r>
              <a:rPr lang="de-DE" sz="1600" dirty="0" smtClean="0"/>
              <a:t> Dienst berechnet werden sol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rhält Kommunikationsschnittstelle</a:t>
            </a:r>
            <a:r>
              <a:rPr lang="en-GB" sz="1600" dirty="0" smtClean="0"/>
              <a:t> </a:t>
            </a:r>
            <a:r>
              <a:rPr lang="en-GB" sz="1600" dirty="0"/>
              <a:t>für die </a:t>
            </a:r>
            <a:r>
              <a:rPr lang="de-DE" sz="1600" dirty="0" smtClean="0"/>
              <a:t>bereitgestellte Applik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Versorgt Applikation mit Daten, erhält Ergebni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Verwaltung</a:t>
            </a:r>
            <a:r>
              <a:rPr lang="en-GB" sz="1600" b="1" dirty="0" smtClean="0"/>
              <a:t>:</a:t>
            </a:r>
            <a:endParaRPr lang="en-GB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Nimmt Applikation vom Auftraggeber und verteilt es an Fahrzeug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t für Auftraggeber und für Fahrzeu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Fahrzeug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die Möglichkeit Applikationen von extern zu laden und lokal auszuführ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e</a:t>
            </a:r>
            <a:r>
              <a:rPr lang="en-GB" sz="1600" dirty="0" smtClean="0"/>
              <a:t> </a:t>
            </a:r>
            <a:r>
              <a:rPr lang="en-GB" sz="1600" dirty="0" err="1" smtClean="0"/>
              <a:t>für</a:t>
            </a:r>
            <a:r>
              <a:rPr lang="en-GB" sz="1600" dirty="0" smtClean="0"/>
              <a:t> die von extern </a:t>
            </a:r>
            <a:r>
              <a:rPr lang="de-DE" sz="1600" dirty="0" smtClean="0"/>
              <a:t>geladene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 smtClean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28583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Fog </a:t>
              </a:r>
              <a:r>
                <a:rPr lang="de-DE" dirty="0"/>
                <a:t>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Fog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</a:t>
            </a:r>
            <a:r>
              <a:rPr lang="de-DE" dirty="0" smtClean="0"/>
              <a:t>vergleich zur Edge Ansatz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</a:t>
            </a:r>
            <a:r>
              <a:rPr lang="de-DE" dirty="0"/>
              <a:t>Edge </a:t>
            </a:r>
            <a:r>
              <a:rPr lang="de-DE" dirty="0"/>
              <a:t>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Edge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03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6</cp:revision>
  <dcterms:created xsi:type="dcterms:W3CDTF">2022-11-29T15:56:53Z</dcterms:created>
  <dcterms:modified xsi:type="dcterms:W3CDTF">2022-11-30T11:43:39Z</dcterms:modified>
</cp:coreProperties>
</file>